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508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BA92761-18FE-4A08-87DC-BFD63F19DCF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240213" y="6624638"/>
            <a:ext cx="663575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fr-FR" sz="900">
                <a:solidFill>
                  <a:srgbClr val="7F7F7F"/>
                </a:solidFill>
              </a:rPr>
              <a:t>General</a:t>
            </a: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8" name="Group 188">
            <a:extLst>
              <a:ext uri="{FF2B5EF4-FFF2-40B4-BE49-F238E27FC236}">
                <a16:creationId xmlns:a16="http://schemas.microsoft.com/office/drawing/2014/main" id="{8FFC05DC-AA8F-404E-BDA1-F6A3BB2782E2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4" name="Rechteck 3">
              <a:extLst>
                <a:ext uri="{FF2B5EF4-FFF2-40B4-BE49-F238E27FC236}">
                  <a16:creationId xmlns:a16="http://schemas.microsoft.com/office/drawing/2014/main" id="{C93B7637-743B-40B2-A0A5-9406327EB6EF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15" name="Rechteck 4">
              <a:extLst>
                <a:ext uri="{FF2B5EF4-FFF2-40B4-BE49-F238E27FC236}">
                  <a16:creationId xmlns:a16="http://schemas.microsoft.com/office/drawing/2014/main" id="{B05F6E4C-B9DE-4268-9C25-F591BB405F4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44BA998B-39CF-48BE-B352-A984259E7D72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ESCRIPTION 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7" name="Rechteck 12">
              <a:extLst>
                <a:ext uri="{FF2B5EF4-FFF2-40B4-BE49-F238E27FC236}">
                  <a16:creationId xmlns:a16="http://schemas.microsoft.com/office/drawing/2014/main" id="{107632F2-492C-42DC-A120-83FEE7B4DB72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imSun" panose="02010600030101010101" pitchFamily="2" charset="-122"/>
                <a:cs typeface="+mn-cs"/>
              </a:endParaRPr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BABFB389-4629-43BC-8E0C-7F74DF3695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461665"/>
          </a:xfrm>
        </p:spPr>
        <p:txBody>
          <a:bodyPr/>
          <a:lstStyle/>
          <a:p>
            <a:pPr eaLnBrk="1" hangingPunct="1">
              <a:defRPr/>
            </a:pPr>
            <a:r>
              <a:rPr lang="en-US" dirty="0"/>
              <a:t>Anticipate spare parts shortage</a:t>
            </a:r>
            <a:endParaRPr lang="en-US" altLang="fr-FR" dirty="0">
              <a:solidFill>
                <a:srgbClr val="E64B00"/>
              </a:solidFill>
            </a:endParaRPr>
          </a:p>
        </p:txBody>
      </p:sp>
      <p:sp>
        <p:nvSpPr>
          <p:cNvPr id="14340" name="Content Placeholder 3">
            <a:extLst>
              <a:ext uri="{FF2B5EF4-FFF2-40B4-BE49-F238E27FC236}">
                <a16:creationId xmlns:a16="http://schemas.microsoft.com/office/drawing/2014/main" id="{184BD63A-1F30-465C-9D3F-C7BDAC89F53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7700" y="1487488"/>
            <a:ext cx="7993063" cy="212725"/>
          </a:xfrm>
        </p:spPr>
        <p:txBody>
          <a:bodyPr/>
          <a:lstStyle/>
          <a:p>
            <a:pPr eaLnBrk="1" hangingPunct="1"/>
            <a:r>
              <a:rPr lang="en-US" altLang="en-US" sz="1800" dirty="0"/>
              <a:t>New CPU on preform sorter</a:t>
            </a:r>
            <a:endParaRPr lang="en-US" altLang="fr-FR" dirty="0"/>
          </a:p>
        </p:txBody>
      </p:sp>
      <p:sp>
        <p:nvSpPr>
          <p:cNvPr id="14341" name="Text Placeholder 2">
            <a:extLst>
              <a:ext uri="{FF2B5EF4-FFF2-40B4-BE49-F238E27FC236}">
                <a16:creationId xmlns:a16="http://schemas.microsoft.com/office/drawing/2014/main" id="{185D154F-08A3-4A0D-8CE7-3E8B2CD8B6F8}"/>
              </a:ext>
            </a:extLst>
          </p:cNvPr>
          <p:cNvSpPr txBox="1">
            <a:spLocks/>
          </p:cNvSpPr>
          <p:nvPr/>
        </p:nvSpPr>
        <p:spPr bwMode="auto">
          <a:xfrm>
            <a:off x="647700" y="5907088"/>
            <a:ext cx="7978775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Obsolescence</a:t>
            </a:r>
          </a:p>
          <a:p>
            <a:pPr lvl="0" fontAlgn="base">
              <a:spcBef>
                <a:spcPct val="20000"/>
              </a:spcBef>
              <a:spcAft>
                <a:spcPct val="0"/>
              </a:spcAft>
              <a:buClrTx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</a:t>
            </a:r>
            <a:r>
              <a:rPr lang="it-IT" sz="800" kern="0" dirty="0">
                <a:solidFill>
                  <a:srgbClr val="000000"/>
                </a:solidFill>
              </a:rPr>
              <a:t>Series2 blowers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OCB001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FAFE414-1D2A-4C00-BF87-EBB8FA72DF27}"/>
              </a:ext>
            </a:extLst>
          </p:cNvPr>
          <p:cNvSpPr/>
          <p:nvPr/>
        </p:nvSpPr>
        <p:spPr>
          <a:xfrm>
            <a:off x="647700" y="2189163"/>
            <a:ext cx="3871913" cy="1581972"/>
          </a:xfrm>
          <a:prstGeom prst="rect">
            <a:avLst/>
          </a:prstGeom>
        </p:spPr>
        <p:txBody>
          <a:bodyPr>
            <a:spAutoFit/>
          </a:bodyPr>
          <a:lstStyle/>
          <a:p>
            <a:pPr marL="136919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100" b="1" dirty="0"/>
              <a:t>Safer solution with newer component available from Sidel.</a:t>
            </a:r>
          </a:p>
          <a:p>
            <a:pPr marL="136919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100" b="1" dirty="0">
                <a:solidFill>
                  <a:srgbClr val="E64B00"/>
                </a:solidFill>
              </a:rPr>
              <a:t>Can prevent long downtimes in case of failure</a:t>
            </a:r>
          </a:p>
          <a:p>
            <a:pPr marL="479810" lvl="1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Risk of imminent Spare Parts unavailability.</a:t>
            </a:r>
          </a:p>
          <a:p>
            <a:pPr marL="479810" lvl="1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Risk of long production stoppages</a:t>
            </a:r>
          </a:p>
          <a:p>
            <a:pPr marL="136919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100" dirty="0"/>
              <a:t>The program (SW) is now installed on a removable memory card</a:t>
            </a:r>
          </a:p>
        </p:txBody>
      </p:sp>
      <p:sp>
        <p:nvSpPr>
          <p:cNvPr id="14347" name="Rectangle 20">
            <a:extLst>
              <a:ext uri="{FF2B5EF4-FFF2-40B4-BE49-F238E27FC236}">
                <a16:creationId xmlns:a16="http://schemas.microsoft.com/office/drawing/2014/main" id="{1B06CEC7-DBD3-40D6-AC3F-E49C9EAA7A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1550" y="2171700"/>
            <a:ext cx="3871913" cy="150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397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36919" lvl="1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New kit components:</a:t>
            </a: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CPU 312C</a:t>
            </a: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Removable 64K EEPROM</a:t>
            </a: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New program (SW)</a:t>
            </a: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New input PLC card</a:t>
            </a: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endParaRPr lang="en-US" altLang="x-none" sz="1100" dirty="0">
              <a:solidFill>
                <a:srgbClr val="000000"/>
              </a:solidFill>
            </a:endParaRPr>
          </a:p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ct val="45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F269EE-C469-45A9-98BC-1F97A87460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4397" y="4262055"/>
            <a:ext cx="1242754" cy="142552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682725F-2F25-41E6-B034-7240A22BA9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9927" y="3869417"/>
            <a:ext cx="1242755" cy="124409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A50B75-7D72-46B9-8940-7C2485171670}"/>
              </a:ext>
            </a:extLst>
          </p:cNvPr>
          <p:cNvSpPr txBox="1"/>
          <p:nvPr/>
        </p:nvSpPr>
        <p:spPr>
          <a:xfrm>
            <a:off x="2425808" y="3990643"/>
            <a:ext cx="5399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b="1" dirty="0"/>
              <a:t>BEFO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4642B70-E12B-4D58-90B9-092D873BAD6B}"/>
              </a:ext>
            </a:extLst>
          </p:cNvPr>
          <p:cNvSpPr txBox="1"/>
          <p:nvPr/>
        </p:nvSpPr>
        <p:spPr>
          <a:xfrm>
            <a:off x="5423841" y="5208763"/>
            <a:ext cx="5399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b="1" dirty="0"/>
              <a:t>AFT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814F13B-C487-4C98-8993-1B41DB64F5B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414" y="4223309"/>
            <a:ext cx="1983317" cy="1487488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51046B5-1467-4CF9-B997-54536519F708}"/>
              </a:ext>
            </a:extLst>
          </p:cNvPr>
          <p:cNvCxnSpPr>
            <a:cxnSpLocks/>
            <a:endCxn id="13" idx="2"/>
          </p:cNvCxnSpPr>
          <p:nvPr/>
        </p:nvCxnSpPr>
        <p:spPr>
          <a:xfrm>
            <a:off x="6102682" y="4423954"/>
            <a:ext cx="1398256" cy="281412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2C23E1F1-AEE7-4AA1-88E0-D7A1D77762A0}"/>
              </a:ext>
            </a:extLst>
          </p:cNvPr>
          <p:cNvSpPr/>
          <p:nvPr/>
        </p:nvSpPr>
        <p:spPr>
          <a:xfrm>
            <a:off x="7500938" y="4539324"/>
            <a:ext cx="904875" cy="33208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1419</TotalTime>
  <Words>86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Anticipate spare parts shorta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64</cp:revision>
  <dcterms:created xsi:type="dcterms:W3CDTF">2019-02-20T10:39:16Z</dcterms:created>
  <dcterms:modified xsi:type="dcterms:W3CDTF">2021-02-18T13:0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